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notesMasterIdLst>
    <p:notesMasterId r:id="rId3"/>
  </p:notesMasterIdLst>
  <p:sldIdLst>
    <p:sldId id="263" r:id="rId2"/>
  </p:sldIdLst>
  <p:sldSz cx="7556500" cy="10693400"/>
  <p:notesSz cx="6858000" cy="9144000"/>
  <p:embeddedFontLst>
    <p:embeddedFont>
      <p:font typeface="Calibri" panose="020F0502020204030204" pitchFamily="34" charset="0"/>
      <p:regular r:id="rId4"/>
      <p:bold r:id="rId5"/>
      <p:italic r:id="rId6"/>
      <p:boldItalic r:id="rId7"/>
    </p:embeddedFont>
    <p:embeddedFont>
      <p:font typeface="Red Hat Display" panose="02010303040201060303" pitchFamily="2" charset="0"/>
      <p:regular r:id="rId8"/>
      <p:bold r:id="rId9"/>
      <p:italic r:id="rId10"/>
      <p:boldItalic r:id="rId11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64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34443"/>
    <a:srgbClr val="FDF4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399" autoAdjust="0"/>
    <p:restoredTop sz="96081" autoAdjust="0"/>
  </p:normalViewPr>
  <p:slideViewPr>
    <p:cSldViewPr>
      <p:cViewPr varScale="1">
        <p:scale>
          <a:sx n="68" d="100"/>
          <a:sy n="68" d="100"/>
        </p:scale>
        <p:origin x="2856" y="96"/>
      </p:cViewPr>
      <p:guideLst>
        <p:guide orient="horz" pos="2264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5.fntdata"/><Relationship Id="rId13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font" Target="fonts/font4.fntdata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3.fntdata"/><Relationship Id="rId11" Type="http://schemas.openxmlformats.org/officeDocument/2006/relationships/font" Target="fonts/font8.fntdata"/><Relationship Id="rId5" Type="http://schemas.openxmlformats.org/officeDocument/2006/relationships/font" Target="fonts/font2.fntdata"/><Relationship Id="rId15" Type="http://schemas.openxmlformats.org/officeDocument/2006/relationships/tableStyles" Target="tableStyles.xml"/><Relationship Id="rId10" Type="http://schemas.openxmlformats.org/officeDocument/2006/relationships/font" Target="fonts/font7.fntdata"/><Relationship Id="rId4" Type="http://schemas.openxmlformats.org/officeDocument/2006/relationships/font" Target="fonts/font1.fntdata"/><Relationship Id="rId9" Type="http://schemas.openxmlformats.org/officeDocument/2006/relationships/font" Target="fonts/font6.fntdata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A46CE0-6C49-42DB-868D-002C7B42C655}" type="datetimeFigureOut">
              <a:rPr lang="en-US" smtClean="0"/>
              <a:t>11/1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38388" y="1143000"/>
            <a:ext cx="2181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E9CB99-20CB-4C66-9E52-3514EC6F98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0741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7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7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7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7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7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1/17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11/17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10" Type="http://schemas.openxmlformats.org/officeDocument/2006/relationships/image" Target="../media/image8.svg"/><Relationship Id="rId4" Type="http://schemas.openxmlformats.org/officeDocument/2006/relationships/image" Target="../media/image2.svg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344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9" name="Group 8">
            <a:extLst>
              <a:ext uri="{FF2B5EF4-FFF2-40B4-BE49-F238E27FC236}">
                <a16:creationId xmlns:a16="http://schemas.microsoft.com/office/drawing/2014/main" id="{C450094D-2DFA-D9BE-DA4B-D24C860685C4}"/>
              </a:ext>
            </a:extLst>
          </p:cNvPr>
          <p:cNvGrpSpPr/>
          <p:nvPr/>
        </p:nvGrpSpPr>
        <p:grpSpPr>
          <a:xfrm>
            <a:off x="487345" y="690850"/>
            <a:ext cx="6791100" cy="9504629"/>
            <a:chOff x="487345" y="690850"/>
            <a:chExt cx="6791100" cy="9504629"/>
          </a:xfrm>
        </p:grpSpPr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47822D22-559C-7024-CD19-54A21EE8795F}"/>
                </a:ext>
              </a:extLst>
            </p:cNvPr>
            <p:cNvGrpSpPr/>
            <p:nvPr/>
          </p:nvGrpSpPr>
          <p:grpSpPr>
            <a:xfrm>
              <a:off x="487345" y="4174784"/>
              <a:ext cx="6581738" cy="6020695"/>
              <a:chOff x="487345" y="4174784"/>
              <a:chExt cx="6581738" cy="6020695"/>
            </a:xfrm>
          </p:grpSpPr>
          <p:sp>
            <p:nvSpPr>
              <p:cNvPr id="99" name="Rectangle: Rounded Corners 98">
                <a:extLst>
                  <a:ext uri="{FF2B5EF4-FFF2-40B4-BE49-F238E27FC236}">
                    <a16:creationId xmlns:a16="http://schemas.microsoft.com/office/drawing/2014/main" id="{B40C22DA-2CD5-CBD3-0E58-02FA54AA24AB}"/>
                  </a:ext>
                </a:extLst>
              </p:cNvPr>
              <p:cNvSpPr/>
              <p:nvPr/>
            </p:nvSpPr>
            <p:spPr>
              <a:xfrm>
                <a:off x="487345" y="4174784"/>
                <a:ext cx="6581738" cy="6020695"/>
              </a:xfrm>
              <a:prstGeom prst="roundRect">
                <a:avLst>
                  <a:gd name="adj" fmla="val 1542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1" name="Rectangle: Rounded Corners 70">
                <a:extLst>
                  <a:ext uri="{FF2B5EF4-FFF2-40B4-BE49-F238E27FC236}">
                    <a16:creationId xmlns:a16="http://schemas.microsoft.com/office/drawing/2014/main" id="{205ACAC8-06F0-47F4-A11D-644DD5EC4195}"/>
                  </a:ext>
                </a:extLst>
              </p:cNvPr>
              <p:cNvSpPr/>
              <p:nvPr/>
            </p:nvSpPr>
            <p:spPr>
              <a:xfrm>
                <a:off x="757110" y="4813900"/>
                <a:ext cx="4544006" cy="810754"/>
              </a:xfrm>
              <a:prstGeom prst="roundRect">
                <a:avLst>
                  <a:gd name="adj" fmla="val 8443"/>
                </a:avLst>
              </a:prstGeom>
              <a:solidFill>
                <a:srgbClr val="FDF4F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TextBox 27"/>
              <p:cNvSpPr txBox="1"/>
              <p:nvPr/>
            </p:nvSpPr>
            <p:spPr>
              <a:xfrm>
                <a:off x="979762" y="4957671"/>
                <a:ext cx="2612778" cy="170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b="1" dirty="0">
                    <a:solidFill>
                      <a:srgbClr val="E34443"/>
                    </a:solidFill>
                    <a:latin typeface="Red Hat Display" panose="02010303040201060303" pitchFamily="2" charset="0"/>
                  </a:rPr>
                  <a:t>01 - MARKET TRENDS AND INSIGHTS</a:t>
                </a:r>
              </a:p>
            </p:txBody>
          </p:sp>
          <p:sp>
            <p:nvSpPr>
              <p:cNvPr id="28" name="TextBox 28"/>
              <p:cNvSpPr txBox="1"/>
              <p:nvPr/>
            </p:nvSpPr>
            <p:spPr>
              <a:xfrm>
                <a:off x="979762" y="5157206"/>
                <a:ext cx="4272277" cy="32367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260"/>
                  </a:lnSpc>
                  <a:spcBef>
                    <a:spcPct val="0"/>
                  </a:spcBef>
                </a:pPr>
                <a:r>
                  <a:rPr lang="en-US" sz="900" dirty="0">
                    <a:solidFill>
                      <a:srgbClr val="000000"/>
                    </a:solidFill>
                    <a:latin typeface="Red Hat Display"/>
                  </a:rPr>
                  <a:t>Overview of current market trends and insights, analyzing customer </a:t>
                </a:r>
                <a:endParaRPr lang="vi-VN" sz="900" dirty="0">
                  <a:solidFill>
                    <a:srgbClr val="000000"/>
                  </a:solidFill>
                  <a:latin typeface="Red Hat Display"/>
                </a:endParaRPr>
              </a:p>
              <a:p>
                <a:pPr marL="0" lvl="0" indent="0" algn="l">
                  <a:lnSpc>
                    <a:spcPts val="1260"/>
                  </a:lnSpc>
                  <a:spcBef>
                    <a:spcPct val="0"/>
                  </a:spcBef>
                </a:pPr>
                <a:r>
                  <a:rPr lang="en-US" sz="900" dirty="0">
                    <a:solidFill>
                      <a:srgbClr val="000000"/>
                    </a:solidFill>
                    <a:latin typeface="Red Hat Display"/>
                  </a:rPr>
                  <a:t>behavior and preferences to refine sales strategies for targeted success</a:t>
                </a:r>
              </a:p>
            </p:txBody>
          </p:sp>
          <p:sp>
            <p:nvSpPr>
              <p:cNvPr id="41" name="Rectangle: Rounded Corners 40">
                <a:extLst>
                  <a:ext uri="{FF2B5EF4-FFF2-40B4-BE49-F238E27FC236}">
                    <a16:creationId xmlns:a16="http://schemas.microsoft.com/office/drawing/2014/main" id="{0B92D410-B8A5-BB5D-21A9-E91B4B9D1614}"/>
                  </a:ext>
                </a:extLst>
              </p:cNvPr>
              <p:cNvSpPr/>
              <p:nvPr/>
            </p:nvSpPr>
            <p:spPr>
              <a:xfrm>
                <a:off x="5369541" y="4813900"/>
                <a:ext cx="1429777" cy="810754"/>
              </a:xfrm>
              <a:prstGeom prst="roundRect">
                <a:avLst>
                  <a:gd name="adj" fmla="val 8443"/>
                </a:avLst>
              </a:prstGeom>
              <a:solidFill>
                <a:srgbClr val="FDF4F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TextBox 29"/>
              <p:cNvSpPr txBox="1"/>
              <p:nvPr/>
            </p:nvSpPr>
            <p:spPr>
              <a:xfrm>
                <a:off x="5919828" y="5320951"/>
                <a:ext cx="329203" cy="170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b="1" dirty="0">
                    <a:solidFill>
                      <a:srgbClr val="E34443"/>
                    </a:solidFill>
                    <a:latin typeface="Red Hat Display" panose="02010303040201060303" pitchFamily="2" charset="0"/>
                  </a:rPr>
                  <a:t>MIN</a:t>
                </a:r>
              </a:p>
            </p:txBody>
          </p:sp>
          <p:sp>
            <p:nvSpPr>
              <p:cNvPr id="30" name="TextBox 30"/>
              <p:cNvSpPr txBox="1"/>
              <p:nvPr/>
            </p:nvSpPr>
            <p:spPr>
              <a:xfrm>
                <a:off x="5919828" y="4947492"/>
                <a:ext cx="329203" cy="33969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2800"/>
                  </a:lnSpc>
                  <a:spcBef>
                    <a:spcPct val="0"/>
                  </a:spcBef>
                </a:pPr>
                <a:r>
                  <a:rPr lang="en-US" sz="2000" b="1" dirty="0">
                    <a:solidFill>
                      <a:srgbClr val="E34443"/>
                    </a:solidFill>
                    <a:latin typeface="Red Hat Display" panose="02010303040201060303" pitchFamily="2" charset="0"/>
                  </a:rPr>
                  <a:t>15</a:t>
                </a:r>
              </a:p>
            </p:txBody>
          </p:sp>
          <p:sp>
            <p:nvSpPr>
              <p:cNvPr id="74" name="Rectangle: Rounded Corners 73">
                <a:extLst>
                  <a:ext uri="{FF2B5EF4-FFF2-40B4-BE49-F238E27FC236}">
                    <a16:creationId xmlns:a16="http://schemas.microsoft.com/office/drawing/2014/main" id="{F78E5E6F-531F-BD7B-5C98-9A98ECB4B747}"/>
                  </a:ext>
                </a:extLst>
              </p:cNvPr>
              <p:cNvSpPr/>
              <p:nvPr/>
            </p:nvSpPr>
            <p:spPr>
              <a:xfrm>
                <a:off x="757110" y="5689875"/>
                <a:ext cx="4544006" cy="810754"/>
              </a:xfrm>
              <a:prstGeom prst="roundRect">
                <a:avLst>
                  <a:gd name="adj" fmla="val 8443"/>
                </a:avLst>
              </a:prstGeom>
              <a:solidFill>
                <a:srgbClr val="FDF4F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TextBox 37"/>
              <p:cNvSpPr txBox="1"/>
              <p:nvPr/>
            </p:nvSpPr>
            <p:spPr>
              <a:xfrm>
                <a:off x="979762" y="5845088"/>
                <a:ext cx="3335876" cy="170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b="1" dirty="0">
                    <a:solidFill>
                      <a:srgbClr val="E34443"/>
                    </a:solidFill>
                    <a:latin typeface="Red Hat Display" panose="02010303040201060303" pitchFamily="2" charset="0"/>
                  </a:rPr>
                  <a:t>02 - PRODUCT UPDATES AND ENHANCEMENTS</a:t>
                </a:r>
              </a:p>
            </p:txBody>
          </p:sp>
          <p:sp>
            <p:nvSpPr>
              <p:cNvPr id="38" name="TextBox 38"/>
              <p:cNvSpPr txBox="1"/>
              <p:nvPr/>
            </p:nvSpPr>
            <p:spPr>
              <a:xfrm>
                <a:off x="979762" y="6044623"/>
                <a:ext cx="4272277" cy="30079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260"/>
                  </a:lnSpc>
                  <a:spcBef>
                    <a:spcPct val="0"/>
                  </a:spcBef>
                </a:pPr>
                <a:r>
                  <a:rPr lang="en-US" sz="900" dirty="0">
                    <a:solidFill>
                      <a:srgbClr val="000000"/>
                    </a:solidFill>
                    <a:latin typeface="Red Hat Display"/>
                  </a:rPr>
                  <a:t>Showcasing the latest product developments, improvements, and upcoming releases to empower the sales team with accurate and enticing information</a:t>
                </a:r>
              </a:p>
            </p:txBody>
          </p:sp>
          <p:sp>
            <p:nvSpPr>
              <p:cNvPr id="44" name="Rectangle: Rounded Corners 43">
                <a:extLst>
                  <a:ext uri="{FF2B5EF4-FFF2-40B4-BE49-F238E27FC236}">
                    <a16:creationId xmlns:a16="http://schemas.microsoft.com/office/drawing/2014/main" id="{ABBCCD09-0A64-DB64-5E56-E005B4D6AE76}"/>
                  </a:ext>
                </a:extLst>
              </p:cNvPr>
              <p:cNvSpPr/>
              <p:nvPr/>
            </p:nvSpPr>
            <p:spPr>
              <a:xfrm>
                <a:off x="5369541" y="5689875"/>
                <a:ext cx="1429777" cy="810754"/>
              </a:xfrm>
              <a:prstGeom prst="roundRect">
                <a:avLst>
                  <a:gd name="adj" fmla="val 8443"/>
                </a:avLst>
              </a:prstGeom>
              <a:solidFill>
                <a:srgbClr val="FDF4F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TextBox 39"/>
              <p:cNvSpPr txBox="1"/>
              <p:nvPr/>
            </p:nvSpPr>
            <p:spPr>
              <a:xfrm>
                <a:off x="5919828" y="6196926"/>
                <a:ext cx="329203" cy="170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b="1" dirty="0">
                    <a:solidFill>
                      <a:srgbClr val="E34443"/>
                    </a:solidFill>
                    <a:latin typeface="Red Hat Display" panose="02010303040201060303" pitchFamily="2" charset="0"/>
                  </a:rPr>
                  <a:t>MIN</a:t>
                </a:r>
              </a:p>
            </p:txBody>
          </p:sp>
          <p:sp>
            <p:nvSpPr>
              <p:cNvPr id="40" name="TextBox 40"/>
              <p:cNvSpPr txBox="1"/>
              <p:nvPr/>
            </p:nvSpPr>
            <p:spPr>
              <a:xfrm>
                <a:off x="5919828" y="5823467"/>
                <a:ext cx="329203" cy="33969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2800"/>
                  </a:lnSpc>
                  <a:spcBef>
                    <a:spcPct val="0"/>
                  </a:spcBef>
                </a:pPr>
                <a:r>
                  <a:rPr lang="en-US" sz="2000" b="1" dirty="0">
                    <a:solidFill>
                      <a:srgbClr val="E34443"/>
                    </a:solidFill>
                    <a:latin typeface="Red Hat Display" panose="02010303040201060303" pitchFamily="2" charset="0"/>
                  </a:rPr>
                  <a:t>20</a:t>
                </a:r>
              </a:p>
            </p:txBody>
          </p:sp>
          <p:sp>
            <p:nvSpPr>
              <p:cNvPr id="81" name="Rectangle: Rounded Corners 80">
                <a:extLst>
                  <a:ext uri="{FF2B5EF4-FFF2-40B4-BE49-F238E27FC236}">
                    <a16:creationId xmlns:a16="http://schemas.microsoft.com/office/drawing/2014/main" id="{ACA23088-3025-ECC6-7380-5E560E54C7B3}"/>
                  </a:ext>
                </a:extLst>
              </p:cNvPr>
              <p:cNvSpPr/>
              <p:nvPr/>
            </p:nvSpPr>
            <p:spPr>
              <a:xfrm>
                <a:off x="757110" y="6565850"/>
                <a:ext cx="4544006" cy="810754"/>
              </a:xfrm>
              <a:prstGeom prst="roundRect">
                <a:avLst>
                  <a:gd name="adj" fmla="val 8443"/>
                </a:avLst>
              </a:prstGeom>
              <a:solidFill>
                <a:srgbClr val="FDF4F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TextBox 47"/>
              <p:cNvSpPr txBox="1"/>
              <p:nvPr/>
            </p:nvSpPr>
            <p:spPr>
              <a:xfrm>
                <a:off x="979762" y="6721063"/>
                <a:ext cx="2612778" cy="170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b="1" dirty="0">
                    <a:solidFill>
                      <a:srgbClr val="E34443"/>
                    </a:solidFill>
                    <a:latin typeface="Red Hat Display" panose="02010303040201060303" pitchFamily="2" charset="0"/>
                  </a:rPr>
                  <a:t>03 - SALES PERFORMANCE REVIEW</a:t>
                </a:r>
              </a:p>
            </p:txBody>
          </p:sp>
          <p:sp>
            <p:nvSpPr>
              <p:cNvPr id="48" name="TextBox 48"/>
              <p:cNvSpPr txBox="1"/>
              <p:nvPr/>
            </p:nvSpPr>
            <p:spPr>
              <a:xfrm>
                <a:off x="979762" y="6920598"/>
                <a:ext cx="4272277" cy="32367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260"/>
                  </a:lnSpc>
                  <a:spcBef>
                    <a:spcPct val="0"/>
                  </a:spcBef>
                </a:pPr>
                <a:r>
                  <a:rPr lang="en-US" sz="900" dirty="0">
                    <a:solidFill>
                      <a:srgbClr val="000000"/>
                    </a:solidFill>
                    <a:latin typeface="Red Hat Display"/>
                  </a:rPr>
                  <a:t>Assessing individual and team sales, analyzing metrics, recognizing successes, </a:t>
                </a:r>
                <a:endParaRPr lang="vi-VN" sz="900" dirty="0">
                  <a:solidFill>
                    <a:srgbClr val="000000"/>
                  </a:solidFill>
                  <a:latin typeface="Red Hat Display"/>
                </a:endParaRPr>
              </a:p>
              <a:p>
                <a:pPr marL="0" lvl="0" indent="0" algn="l">
                  <a:lnSpc>
                    <a:spcPts val="1260"/>
                  </a:lnSpc>
                  <a:spcBef>
                    <a:spcPct val="0"/>
                  </a:spcBef>
                </a:pPr>
                <a:r>
                  <a:rPr lang="en-US" sz="900" dirty="0">
                    <a:solidFill>
                      <a:srgbClr val="000000"/>
                    </a:solidFill>
                    <a:latin typeface="Red Hat Display"/>
                  </a:rPr>
                  <a:t>and tackling areas for improvement to enhance overall sales efficiency</a:t>
                </a:r>
              </a:p>
            </p:txBody>
          </p:sp>
          <p:sp>
            <p:nvSpPr>
              <p:cNvPr id="51" name="Rectangle: Rounded Corners 50">
                <a:extLst>
                  <a:ext uri="{FF2B5EF4-FFF2-40B4-BE49-F238E27FC236}">
                    <a16:creationId xmlns:a16="http://schemas.microsoft.com/office/drawing/2014/main" id="{A67E0DD5-99F0-170E-1F1B-A95146299506}"/>
                  </a:ext>
                </a:extLst>
              </p:cNvPr>
              <p:cNvSpPr/>
              <p:nvPr/>
            </p:nvSpPr>
            <p:spPr>
              <a:xfrm>
                <a:off x="5369541" y="6565850"/>
                <a:ext cx="1429777" cy="810754"/>
              </a:xfrm>
              <a:prstGeom prst="roundRect">
                <a:avLst>
                  <a:gd name="adj" fmla="val 8443"/>
                </a:avLst>
              </a:prstGeom>
              <a:solidFill>
                <a:srgbClr val="FDF4F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9" name="TextBox 49"/>
              <p:cNvSpPr txBox="1"/>
              <p:nvPr/>
            </p:nvSpPr>
            <p:spPr>
              <a:xfrm>
                <a:off x="5919828" y="7072901"/>
                <a:ext cx="329203" cy="170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b="1" dirty="0">
                    <a:solidFill>
                      <a:srgbClr val="E34443"/>
                    </a:solidFill>
                    <a:latin typeface="Red Hat Display" panose="02010303040201060303" pitchFamily="2" charset="0"/>
                  </a:rPr>
                  <a:t>MIN</a:t>
                </a:r>
              </a:p>
            </p:txBody>
          </p:sp>
          <p:sp>
            <p:nvSpPr>
              <p:cNvPr id="50" name="TextBox 50"/>
              <p:cNvSpPr txBox="1"/>
              <p:nvPr/>
            </p:nvSpPr>
            <p:spPr>
              <a:xfrm>
                <a:off x="5812063" y="6699442"/>
                <a:ext cx="544733" cy="33969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2800"/>
                  </a:lnSpc>
                  <a:spcBef>
                    <a:spcPct val="0"/>
                  </a:spcBef>
                </a:pPr>
                <a:r>
                  <a:rPr lang="en-US" sz="2000" b="1" dirty="0">
                    <a:solidFill>
                      <a:srgbClr val="E34443"/>
                    </a:solidFill>
                    <a:latin typeface="Red Hat Display" panose="02010303040201060303" pitchFamily="2" charset="0"/>
                  </a:rPr>
                  <a:t>30</a:t>
                </a:r>
              </a:p>
            </p:txBody>
          </p:sp>
          <p:sp>
            <p:nvSpPr>
              <p:cNvPr id="95" name="Rectangle: Rounded Corners 94">
                <a:extLst>
                  <a:ext uri="{FF2B5EF4-FFF2-40B4-BE49-F238E27FC236}">
                    <a16:creationId xmlns:a16="http://schemas.microsoft.com/office/drawing/2014/main" id="{E593E388-6839-32E5-6E7F-076CF149EFF4}"/>
                  </a:ext>
                </a:extLst>
              </p:cNvPr>
              <p:cNvSpPr/>
              <p:nvPr/>
            </p:nvSpPr>
            <p:spPr>
              <a:xfrm>
                <a:off x="757110" y="7441825"/>
                <a:ext cx="4544006" cy="810754"/>
              </a:xfrm>
              <a:prstGeom prst="roundRect">
                <a:avLst>
                  <a:gd name="adj" fmla="val 8443"/>
                </a:avLst>
              </a:prstGeom>
              <a:solidFill>
                <a:srgbClr val="FDF4F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7" name="TextBox 57"/>
              <p:cNvSpPr txBox="1"/>
              <p:nvPr/>
            </p:nvSpPr>
            <p:spPr>
              <a:xfrm>
                <a:off x="979762" y="7597038"/>
                <a:ext cx="2612778" cy="170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b="1" dirty="0">
                    <a:solidFill>
                      <a:srgbClr val="E34443"/>
                    </a:solidFill>
                    <a:latin typeface="Red Hat Display" panose="02010303040201060303" pitchFamily="2" charset="0"/>
                  </a:rPr>
                  <a:t>04 - CUSTOMER SUCCESS STORIES</a:t>
                </a:r>
              </a:p>
            </p:txBody>
          </p:sp>
          <p:sp>
            <p:nvSpPr>
              <p:cNvPr id="58" name="TextBox 58"/>
              <p:cNvSpPr txBox="1"/>
              <p:nvPr/>
            </p:nvSpPr>
            <p:spPr>
              <a:xfrm>
                <a:off x="979762" y="7796573"/>
                <a:ext cx="4272277" cy="32367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260"/>
                  </a:lnSpc>
                  <a:spcBef>
                    <a:spcPct val="0"/>
                  </a:spcBef>
                </a:pPr>
                <a:r>
                  <a:rPr lang="en-US" sz="900" dirty="0">
                    <a:solidFill>
                      <a:srgbClr val="000000"/>
                    </a:solidFill>
                    <a:latin typeface="Red Hat Display"/>
                  </a:rPr>
                  <a:t>Highlighting recent customer success stories, sharing positive experiences </a:t>
                </a:r>
                <a:endParaRPr lang="vi-VN" sz="900" dirty="0">
                  <a:solidFill>
                    <a:srgbClr val="000000"/>
                  </a:solidFill>
                  <a:latin typeface="Red Hat Display"/>
                </a:endParaRPr>
              </a:p>
              <a:p>
                <a:pPr marL="0" lvl="0" indent="0" algn="l">
                  <a:lnSpc>
                    <a:spcPts val="1260"/>
                  </a:lnSpc>
                  <a:spcBef>
                    <a:spcPct val="0"/>
                  </a:spcBef>
                </a:pPr>
                <a:r>
                  <a:rPr lang="en-US" sz="900" dirty="0">
                    <a:solidFill>
                      <a:srgbClr val="000000"/>
                    </a:solidFill>
                    <a:latin typeface="Red Hat Display"/>
                  </a:rPr>
                  <a:t>to inspire the team, and exploring ways to replicate success in other accounts</a:t>
                </a:r>
              </a:p>
            </p:txBody>
          </p:sp>
          <p:sp>
            <p:nvSpPr>
              <p:cNvPr id="54" name="Rectangle: Rounded Corners 53">
                <a:extLst>
                  <a:ext uri="{FF2B5EF4-FFF2-40B4-BE49-F238E27FC236}">
                    <a16:creationId xmlns:a16="http://schemas.microsoft.com/office/drawing/2014/main" id="{F930B032-6035-67F5-97AC-3C340DE2FE49}"/>
                  </a:ext>
                </a:extLst>
              </p:cNvPr>
              <p:cNvSpPr/>
              <p:nvPr/>
            </p:nvSpPr>
            <p:spPr>
              <a:xfrm>
                <a:off x="5369541" y="7441825"/>
                <a:ext cx="1429777" cy="810754"/>
              </a:xfrm>
              <a:prstGeom prst="roundRect">
                <a:avLst>
                  <a:gd name="adj" fmla="val 8443"/>
                </a:avLst>
              </a:prstGeom>
              <a:solidFill>
                <a:srgbClr val="FDF4F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9" name="TextBox 59"/>
              <p:cNvSpPr txBox="1"/>
              <p:nvPr/>
            </p:nvSpPr>
            <p:spPr>
              <a:xfrm>
                <a:off x="5919828" y="7948876"/>
                <a:ext cx="329203" cy="170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b="1" dirty="0">
                    <a:solidFill>
                      <a:srgbClr val="E34443"/>
                    </a:solidFill>
                    <a:latin typeface="Red Hat Display" panose="02010303040201060303" pitchFamily="2" charset="0"/>
                  </a:rPr>
                  <a:t>MIN</a:t>
                </a:r>
              </a:p>
            </p:txBody>
          </p:sp>
          <p:sp>
            <p:nvSpPr>
              <p:cNvPr id="60" name="TextBox 60"/>
              <p:cNvSpPr txBox="1"/>
              <p:nvPr/>
            </p:nvSpPr>
            <p:spPr>
              <a:xfrm>
                <a:off x="5812063" y="7575417"/>
                <a:ext cx="544733" cy="33969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2800"/>
                  </a:lnSpc>
                  <a:spcBef>
                    <a:spcPct val="0"/>
                  </a:spcBef>
                </a:pPr>
                <a:r>
                  <a:rPr lang="en-US" sz="2000" b="1" dirty="0">
                    <a:solidFill>
                      <a:srgbClr val="E34443"/>
                    </a:solidFill>
                    <a:latin typeface="Red Hat Display" panose="02010303040201060303" pitchFamily="2" charset="0"/>
                  </a:rPr>
                  <a:t>20</a:t>
                </a:r>
              </a:p>
            </p:txBody>
          </p:sp>
          <p:sp>
            <p:nvSpPr>
              <p:cNvPr id="96" name="Rectangle: Rounded Corners 95">
                <a:extLst>
                  <a:ext uri="{FF2B5EF4-FFF2-40B4-BE49-F238E27FC236}">
                    <a16:creationId xmlns:a16="http://schemas.microsoft.com/office/drawing/2014/main" id="{3755B1EA-9B1E-CFA3-708A-9F7C8F01C997}"/>
                  </a:ext>
                </a:extLst>
              </p:cNvPr>
              <p:cNvSpPr/>
              <p:nvPr/>
            </p:nvSpPr>
            <p:spPr>
              <a:xfrm>
                <a:off x="757110" y="8317800"/>
                <a:ext cx="4544006" cy="810754"/>
              </a:xfrm>
              <a:prstGeom prst="roundRect">
                <a:avLst>
                  <a:gd name="adj" fmla="val 8443"/>
                </a:avLst>
              </a:prstGeom>
              <a:solidFill>
                <a:srgbClr val="FDF4F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47" name="Group 146">
                <a:extLst>
                  <a:ext uri="{FF2B5EF4-FFF2-40B4-BE49-F238E27FC236}">
                    <a16:creationId xmlns:a16="http://schemas.microsoft.com/office/drawing/2014/main" id="{D1A9A899-2120-472D-D781-2C930610C61E}"/>
                  </a:ext>
                </a:extLst>
              </p:cNvPr>
              <p:cNvGrpSpPr/>
              <p:nvPr/>
            </p:nvGrpSpPr>
            <p:grpSpPr>
              <a:xfrm>
                <a:off x="979762" y="8461570"/>
                <a:ext cx="4098703" cy="523213"/>
                <a:chOff x="892975" y="8473013"/>
                <a:chExt cx="4098703" cy="523213"/>
              </a:xfrm>
            </p:grpSpPr>
            <p:sp>
              <p:nvSpPr>
                <p:cNvPr id="67" name="TextBox 67"/>
                <p:cNvSpPr txBox="1"/>
                <p:nvPr/>
              </p:nvSpPr>
              <p:spPr>
                <a:xfrm>
                  <a:off x="892975" y="8473013"/>
                  <a:ext cx="3153800" cy="17011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399"/>
                    </a:lnSpc>
                    <a:spcBef>
                      <a:spcPct val="0"/>
                    </a:spcBef>
                  </a:pPr>
                  <a:r>
                    <a:rPr lang="en-US" sz="999" b="1" dirty="0">
                      <a:solidFill>
                        <a:srgbClr val="E34443"/>
                      </a:solidFill>
                      <a:latin typeface="Red Hat Display" panose="02010303040201060303" pitchFamily="2" charset="0"/>
                    </a:rPr>
                    <a:t>05 - COMPETITIVE LANDSCAPE ANALYSIS</a:t>
                  </a:r>
                </a:p>
              </p:txBody>
            </p:sp>
            <p:sp>
              <p:nvSpPr>
                <p:cNvPr id="68" name="TextBox 68"/>
                <p:cNvSpPr txBox="1"/>
                <p:nvPr/>
              </p:nvSpPr>
              <p:spPr>
                <a:xfrm>
                  <a:off x="892975" y="8672548"/>
                  <a:ext cx="4098703" cy="323678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260"/>
                    </a:lnSpc>
                    <a:spcBef>
                      <a:spcPct val="0"/>
                    </a:spcBef>
                  </a:pPr>
                  <a:r>
                    <a:rPr lang="en-US" sz="900" dirty="0">
                      <a:solidFill>
                        <a:srgbClr val="000000"/>
                      </a:solidFill>
                      <a:latin typeface="Red Hat Display"/>
                    </a:rPr>
                    <a:t>In-depth analysis of competitors, understanding their strengths and weaknesses, </a:t>
                  </a:r>
                  <a:endParaRPr lang="vi-VN" sz="900" dirty="0">
                    <a:solidFill>
                      <a:srgbClr val="000000"/>
                    </a:solidFill>
                    <a:latin typeface="Red Hat Display"/>
                  </a:endParaRPr>
                </a:p>
                <a:p>
                  <a:pPr marL="0" lvl="0" indent="0" algn="l">
                    <a:lnSpc>
                      <a:spcPts val="1260"/>
                    </a:lnSpc>
                    <a:spcBef>
                      <a:spcPct val="0"/>
                    </a:spcBef>
                  </a:pPr>
                  <a:r>
                    <a:rPr lang="en-US" sz="900" dirty="0">
                      <a:solidFill>
                        <a:srgbClr val="000000"/>
                      </a:solidFill>
                      <a:latin typeface="Red Hat Display"/>
                    </a:rPr>
                    <a:t>and formulating strategies to differentiate our offerings and win in the market</a:t>
                  </a:r>
                </a:p>
              </p:txBody>
            </p:sp>
          </p:grpSp>
          <p:sp>
            <p:nvSpPr>
              <p:cNvPr id="61" name="Rectangle: Rounded Corners 60">
                <a:extLst>
                  <a:ext uri="{FF2B5EF4-FFF2-40B4-BE49-F238E27FC236}">
                    <a16:creationId xmlns:a16="http://schemas.microsoft.com/office/drawing/2014/main" id="{8FC9C001-F2D2-1C09-48CE-FE70FAB7E9AF}"/>
                  </a:ext>
                </a:extLst>
              </p:cNvPr>
              <p:cNvSpPr/>
              <p:nvPr/>
            </p:nvSpPr>
            <p:spPr>
              <a:xfrm>
                <a:off x="5369541" y="8317800"/>
                <a:ext cx="1429777" cy="810754"/>
              </a:xfrm>
              <a:prstGeom prst="roundRect">
                <a:avLst>
                  <a:gd name="adj" fmla="val 8443"/>
                </a:avLst>
              </a:prstGeom>
              <a:solidFill>
                <a:srgbClr val="FDF4F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9" name="TextBox 69"/>
              <p:cNvSpPr txBox="1"/>
              <p:nvPr/>
            </p:nvSpPr>
            <p:spPr>
              <a:xfrm>
                <a:off x="5919828" y="8824850"/>
                <a:ext cx="329203" cy="170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b="1" dirty="0">
                    <a:solidFill>
                      <a:srgbClr val="E34443"/>
                    </a:solidFill>
                    <a:latin typeface="Red Hat Display" panose="02010303040201060303" pitchFamily="2" charset="0"/>
                  </a:rPr>
                  <a:t>MIN</a:t>
                </a:r>
              </a:p>
            </p:txBody>
          </p:sp>
          <p:sp>
            <p:nvSpPr>
              <p:cNvPr id="70" name="TextBox 70"/>
              <p:cNvSpPr txBox="1"/>
              <p:nvPr/>
            </p:nvSpPr>
            <p:spPr>
              <a:xfrm>
                <a:off x="5747404" y="8451391"/>
                <a:ext cx="674051" cy="33969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2800"/>
                  </a:lnSpc>
                  <a:spcBef>
                    <a:spcPct val="0"/>
                  </a:spcBef>
                </a:pPr>
                <a:r>
                  <a:rPr lang="en-US" sz="2000" b="1" dirty="0">
                    <a:solidFill>
                      <a:srgbClr val="E34443"/>
                    </a:solidFill>
                    <a:latin typeface="Red Hat Display" panose="02010303040201060303" pitchFamily="2" charset="0"/>
                  </a:rPr>
                  <a:t>40</a:t>
                </a:r>
              </a:p>
            </p:txBody>
          </p:sp>
          <p:sp>
            <p:nvSpPr>
              <p:cNvPr id="97" name="Rectangle: Rounded Corners 96">
                <a:extLst>
                  <a:ext uri="{FF2B5EF4-FFF2-40B4-BE49-F238E27FC236}">
                    <a16:creationId xmlns:a16="http://schemas.microsoft.com/office/drawing/2014/main" id="{1C2A8FAA-46ED-F6B8-F781-64D47EBEE117}"/>
                  </a:ext>
                </a:extLst>
              </p:cNvPr>
              <p:cNvSpPr/>
              <p:nvPr/>
            </p:nvSpPr>
            <p:spPr>
              <a:xfrm>
                <a:off x="757110" y="9193777"/>
                <a:ext cx="4544006" cy="810754"/>
              </a:xfrm>
              <a:prstGeom prst="roundRect">
                <a:avLst>
                  <a:gd name="adj" fmla="val 8443"/>
                </a:avLst>
              </a:prstGeom>
              <a:solidFill>
                <a:srgbClr val="FDF4F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7" name="TextBox 77"/>
              <p:cNvSpPr txBox="1"/>
              <p:nvPr/>
            </p:nvSpPr>
            <p:spPr>
              <a:xfrm>
                <a:off x="979762" y="9348990"/>
                <a:ext cx="2612778" cy="170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b="1" dirty="0">
                    <a:solidFill>
                      <a:srgbClr val="E34443"/>
                    </a:solidFill>
                    <a:latin typeface="Red Hat Display" panose="02010303040201060303" pitchFamily="2" charset="0"/>
                  </a:rPr>
                  <a:t>06 - SALES PROCESS OPTIMIZATION</a:t>
                </a:r>
              </a:p>
            </p:txBody>
          </p:sp>
          <p:sp>
            <p:nvSpPr>
              <p:cNvPr id="78" name="TextBox 78"/>
              <p:cNvSpPr txBox="1"/>
              <p:nvPr/>
            </p:nvSpPr>
            <p:spPr>
              <a:xfrm>
                <a:off x="979762" y="9548525"/>
                <a:ext cx="4272277" cy="323678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260"/>
                  </a:lnSpc>
                  <a:spcBef>
                    <a:spcPct val="0"/>
                  </a:spcBef>
                </a:pPr>
                <a:r>
                  <a:rPr lang="en-US" sz="900" dirty="0">
                    <a:solidFill>
                      <a:srgbClr val="000000"/>
                    </a:solidFill>
                    <a:latin typeface="Red Hat Display"/>
                  </a:rPr>
                  <a:t>Improving sales from leads to conversions by finding and fixing workflow </a:t>
                </a:r>
                <a:endParaRPr lang="vi-VN" sz="900" dirty="0">
                  <a:solidFill>
                    <a:srgbClr val="000000"/>
                  </a:solidFill>
                  <a:latin typeface="Red Hat Display"/>
                </a:endParaRPr>
              </a:p>
              <a:p>
                <a:pPr marL="0" lvl="0" indent="0" algn="l">
                  <a:lnSpc>
                    <a:spcPts val="1260"/>
                  </a:lnSpc>
                  <a:spcBef>
                    <a:spcPct val="0"/>
                  </a:spcBef>
                </a:pPr>
                <a:r>
                  <a:rPr lang="en-US" sz="900" dirty="0">
                    <a:solidFill>
                      <a:srgbClr val="000000"/>
                    </a:solidFill>
                    <a:latin typeface="Red Hat Display"/>
                  </a:rPr>
                  <a:t>issues, boosting efficiency, and enhancing customer engagement</a:t>
                </a:r>
              </a:p>
            </p:txBody>
          </p:sp>
          <p:sp>
            <p:nvSpPr>
              <p:cNvPr id="64" name="Rectangle: Rounded Corners 63">
                <a:extLst>
                  <a:ext uri="{FF2B5EF4-FFF2-40B4-BE49-F238E27FC236}">
                    <a16:creationId xmlns:a16="http://schemas.microsoft.com/office/drawing/2014/main" id="{09B80176-C8EE-DD18-DFB0-340FFDBCF325}"/>
                  </a:ext>
                </a:extLst>
              </p:cNvPr>
              <p:cNvSpPr/>
              <p:nvPr/>
            </p:nvSpPr>
            <p:spPr>
              <a:xfrm>
                <a:off x="5369541" y="9193777"/>
                <a:ext cx="1429777" cy="810754"/>
              </a:xfrm>
              <a:prstGeom prst="roundRect">
                <a:avLst>
                  <a:gd name="adj" fmla="val 8443"/>
                </a:avLst>
              </a:prstGeom>
              <a:solidFill>
                <a:srgbClr val="FDF4F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9" name="TextBox 79"/>
              <p:cNvSpPr txBox="1"/>
              <p:nvPr/>
            </p:nvSpPr>
            <p:spPr>
              <a:xfrm>
                <a:off x="5919828" y="9700828"/>
                <a:ext cx="329203" cy="170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b="1" dirty="0">
                    <a:solidFill>
                      <a:srgbClr val="E34443"/>
                    </a:solidFill>
                    <a:latin typeface="Red Hat Display" panose="02010303040201060303" pitchFamily="2" charset="0"/>
                  </a:rPr>
                  <a:t>MIN</a:t>
                </a:r>
              </a:p>
            </p:txBody>
          </p:sp>
          <p:sp>
            <p:nvSpPr>
              <p:cNvPr id="80" name="TextBox 80"/>
              <p:cNvSpPr txBox="1"/>
              <p:nvPr/>
            </p:nvSpPr>
            <p:spPr>
              <a:xfrm>
                <a:off x="5747404" y="9327369"/>
                <a:ext cx="674051" cy="33969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2800"/>
                  </a:lnSpc>
                  <a:spcBef>
                    <a:spcPct val="0"/>
                  </a:spcBef>
                </a:pPr>
                <a:r>
                  <a:rPr lang="en-US" sz="2000" b="1" dirty="0">
                    <a:solidFill>
                      <a:srgbClr val="E34443"/>
                    </a:solidFill>
                    <a:latin typeface="Red Hat Display" panose="02010303040201060303" pitchFamily="2" charset="0"/>
                  </a:rPr>
                  <a:t>30</a:t>
                </a:r>
              </a:p>
            </p:txBody>
          </p:sp>
          <p:sp>
            <p:nvSpPr>
              <p:cNvPr id="98" name="Rectangle: Rounded Corners 97">
                <a:extLst>
                  <a:ext uri="{FF2B5EF4-FFF2-40B4-BE49-F238E27FC236}">
                    <a16:creationId xmlns:a16="http://schemas.microsoft.com/office/drawing/2014/main" id="{0E3BD797-BCAF-D7F9-387B-25C0EE163086}"/>
                  </a:ext>
                </a:extLst>
              </p:cNvPr>
              <p:cNvSpPr/>
              <p:nvPr/>
            </p:nvSpPr>
            <p:spPr>
              <a:xfrm>
                <a:off x="757110" y="4365731"/>
                <a:ext cx="6042208" cy="382948"/>
              </a:xfrm>
              <a:prstGeom prst="roundRect">
                <a:avLst>
                  <a:gd name="adj" fmla="val 18392"/>
                </a:avLst>
              </a:prstGeom>
              <a:solidFill>
                <a:srgbClr val="E3444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4" name="TextBox 84"/>
              <p:cNvSpPr txBox="1"/>
              <p:nvPr/>
            </p:nvSpPr>
            <p:spPr>
              <a:xfrm>
                <a:off x="979762" y="4472149"/>
                <a:ext cx="1810006" cy="170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b="1" u="none" strike="noStrike" dirty="0">
                    <a:solidFill>
                      <a:srgbClr val="FFFFFF"/>
                    </a:solidFill>
                    <a:latin typeface="Red Hat Display" panose="02010303040201060303" pitchFamily="2" charset="0"/>
                  </a:rPr>
                  <a:t>TOPICS</a:t>
                </a:r>
              </a:p>
            </p:txBody>
          </p:sp>
          <p:sp>
            <p:nvSpPr>
              <p:cNvPr id="85" name="TextBox 85"/>
              <p:cNvSpPr txBox="1"/>
              <p:nvPr/>
            </p:nvSpPr>
            <p:spPr>
              <a:xfrm>
                <a:off x="5210284" y="4472149"/>
                <a:ext cx="1366454" cy="17011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r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b="1" u="none" strike="noStrike" dirty="0">
                    <a:solidFill>
                      <a:srgbClr val="FFFFFF"/>
                    </a:solidFill>
                    <a:latin typeface="Red Hat Display" panose="02010303040201060303" pitchFamily="2" charset="0"/>
                  </a:rPr>
                  <a:t>ESTIMATED TIME</a:t>
                </a: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2F610B0F-D1EC-8D04-19F4-D4898FCE19B5}"/>
                </a:ext>
              </a:extLst>
            </p:cNvPr>
            <p:cNvGrpSpPr/>
            <p:nvPr/>
          </p:nvGrpSpPr>
          <p:grpSpPr>
            <a:xfrm>
              <a:off x="727069" y="2358215"/>
              <a:ext cx="6076931" cy="1354607"/>
              <a:chOff x="727069" y="2358215"/>
              <a:chExt cx="6076931" cy="1354607"/>
            </a:xfrm>
          </p:grpSpPr>
          <p:sp>
            <p:nvSpPr>
              <p:cNvPr id="6" name="AutoShape 6"/>
              <p:cNvSpPr/>
              <p:nvPr/>
            </p:nvSpPr>
            <p:spPr>
              <a:xfrm>
                <a:off x="727069" y="3034174"/>
                <a:ext cx="2750968" cy="0"/>
              </a:xfrm>
              <a:prstGeom prst="line">
                <a:avLst/>
              </a:prstGeom>
              <a:ln w="9525" cap="flat">
                <a:solidFill>
                  <a:srgbClr val="FFFFF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7" name="AutoShape 7"/>
              <p:cNvSpPr/>
              <p:nvPr/>
            </p:nvSpPr>
            <p:spPr>
              <a:xfrm>
                <a:off x="4047246" y="3034174"/>
                <a:ext cx="2750968" cy="0"/>
              </a:xfrm>
              <a:prstGeom prst="line">
                <a:avLst/>
              </a:prstGeom>
              <a:ln w="9525" cap="flat">
                <a:solidFill>
                  <a:srgbClr val="FFFFF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" name="AutoShape 8"/>
              <p:cNvSpPr/>
              <p:nvPr/>
            </p:nvSpPr>
            <p:spPr>
              <a:xfrm>
                <a:off x="727069" y="3712822"/>
                <a:ext cx="2750968" cy="0"/>
              </a:xfrm>
              <a:prstGeom prst="line">
                <a:avLst/>
              </a:prstGeom>
              <a:ln w="9525" cap="flat">
                <a:solidFill>
                  <a:srgbClr val="FFFFF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9" name="AutoShape 9"/>
              <p:cNvSpPr/>
              <p:nvPr/>
            </p:nvSpPr>
            <p:spPr>
              <a:xfrm>
                <a:off x="4047246" y="3712822"/>
                <a:ext cx="2750968" cy="0"/>
              </a:xfrm>
              <a:prstGeom prst="line">
                <a:avLst/>
              </a:prstGeom>
              <a:ln w="9525" cap="flat">
                <a:solidFill>
                  <a:srgbClr val="FFFFF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0" name="AutoShape 10"/>
              <p:cNvSpPr/>
              <p:nvPr/>
            </p:nvSpPr>
            <p:spPr>
              <a:xfrm>
                <a:off x="727069" y="3373498"/>
                <a:ext cx="2750968" cy="0"/>
              </a:xfrm>
              <a:prstGeom prst="line">
                <a:avLst/>
              </a:prstGeom>
              <a:ln w="9525" cap="flat">
                <a:solidFill>
                  <a:srgbClr val="FFFFF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1" name="AutoShape 11"/>
              <p:cNvSpPr/>
              <p:nvPr/>
            </p:nvSpPr>
            <p:spPr>
              <a:xfrm>
                <a:off x="4047246" y="3373498"/>
                <a:ext cx="2750968" cy="0"/>
              </a:xfrm>
              <a:prstGeom prst="line">
                <a:avLst/>
              </a:prstGeom>
              <a:ln w="9525" cap="flat">
                <a:solidFill>
                  <a:srgbClr val="FFFFF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86" name="TextBox 86"/>
              <p:cNvSpPr txBox="1"/>
              <p:nvPr/>
            </p:nvSpPr>
            <p:spPr>
              <a:xfrm>
                <a:off x="750214" y="2782345"/>
                <a:ext cx="1885036" cy="156902"/>
              </a:xfrm>
              <a:prstGeom prst="rect">
                <a:avLst/>
              </a:prstGeom>
            </p:spPr>
            <p:txBody>
              <a:bodyPr wrap="square" lIns="0" tIns="0" rIns="0" bIns="0" rtlCol="0" anchor="t">
                <a:spAutoFit/>
              </a:bodyPr>
              <a:lstStyle/>
              <a:p>
                <a:pPr>
                  <a:lnSpc>
                    <a:spcPts val="1259"/>
                  </a:lnSpc>
                  <a:spcBef>
                    <a:spcPct val="0"/>
                  </a:spcBef>
                </a:pPr>
                <a:r>
                  <a:rPr lang="en-US" sz="899" b="1" dirty="0">
                    <a:solidFill>
                      <a:srgbClr val="FFFFFF"/>
                    </a:solidFill>
                    <a:latin typeface="Red Hat Display" panose="02010303040201060303" pitchFamily="2" charset="0"/>
                  </a:rPr>
                  <a:t>Time:</a:t>
                </a:r>
                <a:r>
                  <a:rPr lang="vi-VN" sz="899" b="1" dirty="0">
                    <a:solidFill>
                      <a:srgbClr val="FFFFFF"/>
                    </a:solidFill>
                    <a:latin typeface="Red Hat Display" panose="02010303040201060303" pitchFamily="2" charset="0"/>
                  </a:rPr>
                  <a:t> </a:t>
                </a:r>
                <a:r>
                  <a:rPr lang="en-US" sz="899" b="1" dirty="0">
                    <a:solidFill>
                      <a:srgbClr val="FFFFFF"/>
                    </a:solidFill>
                    <a:latin typeface="Red Hat Display"/>
                  </a:rPr>
                  <a:t> </a:t>
                </a:r>
                <a:r>
                  <a:rPr lang="en-US" sz="899" dirty="0">
                    <a:solidFill>
                      <a:srgbClr val="FFFFFF"/>
                    </a:solidFill>
                    <a:latin typeface="Red Hat Display"/>
                  </a:rPr>
                  <a:t>14:00 Monday Afternoon</a:t>
                </a:r>
              </a:p>
            </p:txBody>
          </p:sp>
          <p:sp>
            <p:nvSpPr>
              <p:cNvPr id="87" name="TextBox 87"/>
              <p:cNvSpPr txBox="1"/>
              <p:nvPr/>
            </p:nvSpPr>
            <p:spPr>
              <a:xfrm>
                <a:off x="4070390" y="2782345"/>
                <a:ext cx="2599228" cy="15690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259"/>
                  </a:lnSpc>
                  <a:spcBef>
                    <a:spcPct val="0"/>
                  </a:spcBef>
                </a:pPr>
                <a:r>
                  <a:rPr lang="en-US" sz="899" b="1" u="none" strike="noStrike" dirty="0">
                    <a:solidFill>
                      <a:srgbClr val="FFFFFF"/>
                    </a:solidFill>
                    <a:latin typeface="Red Hat Display" panose="02010303040201060303" pitchFamily="2" charset="0"/>
                  </a:rPr>
                  <a:t>Meeting Called by: </a:t>
                </a:r>
                <a:r>
                  <a:rPr lang="vi-VN" sz="899" b="1" u="none" strike="noStrike" dirty="0">
                    <a:solidFill>
                      <a:srgbClr val="FFFFFF"/>
                    </a:solidFill>
                    <a:latin typeface="Red Hat Display" panose="02010303040201060303" pitchFamily="2" charset="0"/>
                  </a:rPr>
                  <a:t> </a:t>
                </a:r>
                <a:r>
                  <a:rPr lang="en-US" sz="899" u="none" strike="noStrike" dirty="0">
                    <a:solidFill>
                      <a:srgbClr val="FFFFFF"/>
                    </a:solidFill>
                    <a:latin typeface="Red Hat Display"/>
                  </a:rPr>
                  <a:t>Ethan Steele</a:t>
                </a:r>
              </a:p>
            </p:txBody>
          </p:sp>
          <p:sp>
            <p:nvSpPr>
              <p:cNvPr id="88" name="TextBox 88"/>
              <p:cNvSpPr txBox="1"/>
              <p:nvPr/>
            </p:nvSpPr>
            <p:spPr>
              <a:xfrm>
                <a:off x="750214" y="3460992"/>
                <a:ext cx="2756010" cy="15690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259"/>
                  </a:lnSpc>
                  <a:spcBef>
                    <a:spcPct val="0"/>
                  </a:spcBef>
                </a:pPr>
                <a:r>
                  <a:rPr lang="en-US" sz="899" b="1" u="none" strike="noStrike" dirty="0">
                    <a:solidFill>
                      <a:srgbClr val="FFFFFF"/>
                    </a:solidFill>
                    <a:latin typeface="Red Hat Display" panose="02010303040201060303" pitchFamily="2" charset="0"/>
                  </a:rPr>
                  <a:t>Location: </a:t>
                </a:r>
                <a:r>
                  <a:rPr lang="vi-VN" sz="899" b="1" u="none" strike="noStrike" dirty="0">
                    <a:solidFill>
                      <a:srgbClr val="FFFFFF"/>
                    </a:solidFill>
                    <a:latin typeface="Red Hat Display" panose="02010303040201060303" pitchFamily="2" charset="0"/>
                  </a:rPr>
                  <a:t> </a:t>
                </a:r>
                <a:r>
                  <a:rPr lang="en-US" sz="899" u="none" strike="noStrike" dirty="0">
                    <a:solidFill>
                      <a:srgbClr val="FFFFFF"/>
                    </a:solidFill>
                    <a:latin typeface="Red Hat Display"/>
                  </a:rPr>
                  <a:t>123 Anywhere </a:t>
                </a:r>
                <a:r>
                  <a:rPr lang="vi-VN" sz="899" u="none" strike="noStrike" dirty="0">
                    <a:solidFill>
                      <a:srgbClr val="FFFFFF"/>
                    </a:solidFill>
                    <a:latin typeface="Red Hat Display"/>
                  </a:rPr>
                  <a:t>S</a:t>
                </a:r>
                <a:r>
                  <a:rPr lang="en-US" sz="899" u="none" strike="noStrike" dirty="0" err="1">
                    <a:solidFill>
                      <a:srgbClr val="FFFFFF"/>
                    </a:solidFill>
                    <a:latin typeface="Red Hat Display"/>
                  </a:rPr>
                  <a:t>treet</a:t>
                </a:r>
                <a:r>
                  <a:rPr lang="en-US" sz="899" u="none" strike="noStrike" dirty="0">
                    <a:solidFill>
                      <a:srgbClr val="FFFFFF"/>
                    </a:solidFill>
                    <a:latin typeface="Red Hat Display"/>
                  </a:rPr>
                  <a:t>, Any City, ST, 12345</a:t>
                </a:r>
              </a:p>
            </p:txBody>
          </p:sp>
          <p:sp>
            <p:nvSpPr>
              <p:cNvPr id="89" name="TextBox 89"/>
              <p:cNvSpPr txBox="1"/>
              <p:nvPr/>
            </p:nvSpPr>
            <p:spPr>
              <a:xfrm>
                <a:off x="4070390" y="3460992"/>
                <a:ext cx="2733610" cy="15690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259"/>
                  </a:lnSpc>
                  <a:spcBef>
                    <a:spcPct val="0"/>
                  </a:spcBef>
                </a:pPr>
                <a:r>
                  <a:rPr lang="en-US" sz="899" b="1" u="none" strike="noStrike" dirty="0">
                    <a:solidFill>
                      <a:srgbClr val="FFFFFF"/>
                    </a:solidFill>
                    <a:latin typeface="Red Hat Display" panose="02010303040201060303" pitchFamily="2" charset="0"/>
                  </a:rPr>
                  <a:t>Attendees: </a:t>
                </a:r>
                <a:r>
                  <a:rPr lang="vi-VN" sz="899" b="1" u="none" strike="noStrike" dirty="0">
                    <a:solidFill>
                      <a:srgbClr val="FFFFFF"/>
                    </a:solidFill>
                    <a:latin typeface="Red Hat Display" panose="02010303040201060303" pitchFamily="2" charset="0"/>
                  </a:rPr>
                  <a:t> </a:t>
                </a:r>
                <a:r>
                  <a:rPr lang="en-US" sz="899" u="none" strike="noStrike" dirty="0" err="1">
                    <a:solidFill>
                      <a:srgbClr val="FFFFFF"/>
                    </a:solidFill>
                    <a:latin typeface="Red Hat Display"/>
                  </a:rPr>
                  <a:t>AspireCraft</a:t>
                </a:r>
                <a:r>
                  <a:rPr lang="en-US" sz="899" u="none" strike="noStrike" dirty="0">
                    <a:solidFill>
                      <a:srgbClr val="FFFFFF"/>
                    </a:solidFill>
                    <a:latin typeface="Red Hat Display"/>
                  </a:rPr>
                  <a:t> Co. Sales Dynamo Force</a:t>
                </a:r>
              </a:p>
            </p:txBody>
          </p:sp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C9AC551E-3506-7D50-ECA0-9706B8ACBCF5}"/>
                  </a:ext>
                </a:extLst>
              </p:cNvPr>
              <p:cNvGrpSpPr/>
              <p:nvPr/>
            </p:nvGrpSpPr>
            <p:grpSpPr>
              <a:xfrm>
                <a:off x="750214" y="2358215"/>
                <a:ext cx="4552950" cy="230091"/>
                <a:chOff x="750214" y="2358215"/>
                <a:chExt cx="4552950" cy="230091"/>
              </a:xfrm>
            </p:grpSpPr>
            <p:grpSp>
              <p:nvGrpSpPr>
                <p:cNvPr id="2" name="Group 1">
                  <a:extLst>
                    <a:ext uri="{FF2B5EF4-FFF2-40B4-BE49-F238E27FC236}">
                      <a16:creationId xmlns:a16="http://schemas.microsoft.com/office/drawing/2014/main" id="{F8C35C28-739E-E833-7E89-E82E87D3E883}"/>
                    </a:ext>
                  </a:extLst>
                </p:cNvPr>
                <p:cNvGrpSpPr/>
                <p:nvPr/>
              </p:nvGrpSpPr>
              <p:grpSpPr>
                <a:xfrm>
                  <a:off x="750214" y="2358215"/>
                  <a:ext cx="230091" cy="230091"/>
                  <a:chOff x="750214" y="2358215"/>
                  <a:chExt cx="230091" cy="230091"/>
                </a:xfrm>
              </p:grpSpPr>
              <p:sp>
                <p:nvSpPr>
                  <p:cNvPr id="12" name="Freeform 12"/>
                  <p:cNvSpPr/>
                  <p:nvPr/>
                </p:nvSpPr>
                <p:spPr>
                  <a:xfrm>
                    <a:off x="750214" y="2358215"/>
                    <a:ext cx="230091" cy="23009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30091" h="230091">
                        <a:moveTo>
                          <a:pt x="0" y="0"/>
                        </a:moveTo>
                        <a:lnTo>
                          <a:pt x="230091" y="0"/>
                        </a:lnTo>
                        <a:lnTo>
                          <a:pt x="230091" y="230091"/>
                        </a:lnTo>
                        <a:lnTo>
                          <a:pt x="0" y="23009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4" name="Freeform 14"/>
                  <p:cNvSpPr/>
                  <p:nvPr/>
                </p:nvSpPr>
                <p:spPr>
                  <a:xfrm>
                    <a:off x="821374" y="2407311"/>
                    <a:ext cx="87772" cy="13189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7772" h="131898">
                        <a:moveTo>
                          <a:pt x="0" y="0"/>
                        </a:moveTo>
                        <a:lnTo>
                          <a:pt x="87772" y="0"/>
                        </a:lnTo>
                        <a:lnTo>
                          <a:pt x="87772" y="131898"/>
                        </a:lnTo>
                        <a:lnTo>
                          <a:pt x="0" y="13189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blipFill>
                    <a:blip r:embed="rId5">
                      <a:extLst>
                        <a:ext uri="{96DAC541-7B7A-43D3-8B79-37D633B846F1}">
                          <asvg:svgBlip xmlns:asvg="http://schemas.microsoft.com/office/drawing/2016/SVG/main" r:embed="rId6"/>
                        </a:ext>
                      </a:extLst>
                    </a:blip>
                    <a:stretch>
                      <a:fillRect/>
                    </a:stretch>
                  </a:blipFill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grpSp>
              <p:nvGrpSpPr>
                <p:cNvPr id="17" name="Group 16">
                  <a:extLst>
                    <a:ext uri="{FF2B5EF4-FFF2-40B4-BE49-F238E27FC236}">
                      <a16:creationId xmlns:a16="http://schemas.microsoft.com/office/drawing/2014/main" id="{2BFD120C-52DB-82FF-6CBD-2E4C3185BC21}"/>
                    </a:ext>
                  </a:extLst>
                </p:cNvPr>
                <p:cNvGrpSpPr/>
                <p:nvPr/>
              </p:nvGrpSpPr>
              <p:grpSpPr>
                <a:xfrm>
                  <a:off x="4070390" y="2358215"/>
                  <a:ext cx="230091" cy="230091"/>
                  <a:chOff x="4070390" y="2358215"/>
                  <a:chExt cx="230091" cy="230091"/>
                </a:xfrm>
              </p:grpSpPr>
              <p:sp>
                <p:nvSpPr>
                  <p:cNvPr id="13" name="Freeform 13"/>
                  <p:cNvSpPr/>
                  <p:nvPr/>
                </p:nvSpPr>
                <p:spPr>
                  <a:xfrm>
                    <a:off x="4070390" y="2358215"/>
                    <a:ext cx="230091" cy="230091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30091" h="230091">
                        <a:moveTo>
                          <a:pt x="0" y="0"/>
                        </a:moveTo>
                        <a:lnTo>
                          <a:pt x="230091" y="0"/>
                        </a:lnTo>
                        <a:lnTo>
                          <a:pt x="230091" y="230091"/>
                        </a:lnTo>
                        <a:lnTo>
                          <a:pt x="0" y="23009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blipFill>
                    <a:blip r:embed="rId3">
                      <a:extLst>
                        <a:ext uri="{96DAC541-7B7A-43D3-8B79-37D633B846F1}">
                          <asvg:svgBlip xmlns:asvg="http://schemas.microsoft.com/office/drawing/2016/SVG/main" r:embed="rId4"/>
                        </a:ext>
                      </a:extLst>
                    </a:blip>
                    <a:stretch>
                      <a:fillRect/>
                    </a:stretch>
                  </a:blipFill>
                  <a:ln cap="sq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  <p:sp>
                <p:nvSpPr>
                  <p:cNvPr id="15" name="Freeform 15"/>
                  <p:cNvSpPr/>
                  <p:nvPr/>
                </p:nvSpPr>
                <p:spPr>
                  <a:xfrm>
                    <a:off x="4141549" y="2407311"/>
                    <a:ext cx="87772" cy="131898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7772" h="131898">
                        <a:moveTo>
                          <a:pt x="0" y="0"/>
                        </a:moveTo>
                        <a:lnTo>
                          <a:pt x="87772" y="0"/>
                        </a:lnTo>
                        <a:lnTo>
                          <a:pt x="87772" y="131898"/>
                        </a:lnTo>
                        <a:lnTo>
                          <a:pt x="0" y="131898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blipFill>
                    <a:blip r:embed="rId5">
                      <a:extLst>
                        <a:ext uri="{96DAC541-7B7A-43D3-8B79-37D633B846F1}">
                          <asvg:svgBlip xmlns:asvg="http://schemas.microsoft.com/office/drawing/2016/SVG/main" r:embed="rId6"/>
                        </a:ext>
                      </a:extLst>
                    </a:blip>
                    <a:stretch>
                      <a:fillRect/>
                    </a:stretch>
                  </a:blipFill>
                  <a:ln cap="sq">
                    <a:noFill/>
                    <a:prstDash val="solid"/>
                    <a:miter/>
                  </a:ln>
                </p:spPr>
                <p:txBody>
                  <a:bodyPr/>
                  <a:lstStyle/>
                  <a:p>
                    <a:endParaRPr lang="en-US"/>
                  </a:p>
                </p:txBody>
              </p:sp>
            </p:grpSp>
            <p:sp>
              <p:nvSpPr>
                <p:cNvPr id="90" name="TextBox 90"/>
                <p:cNvSpPr txBox="1"/>
                <p:nvPr/>
              </p:nvSpPr>
              <p:spPr>
                <a:xfrm>
                  <a:off x="1088003" y="2388205"/>
                  <a:ext cx="620041" cy="17011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1399"/>
                    </a:lnSpc>
                    <a:spcBef>
                      <a:spcPct val="0"/>
                    </a:spcBef>
                  </a:pPr>
                  <a:r>
                    <a:rPr lang="en-US" sz="999" b="1" dirty="0">
                      <a:solidFill>
                        <a:srgbClr val="FFFFFF"/>
                      </a:solidFill>
                      <a:latin typeface="Red Hat Display" panose="02010303040201060303" pitchFamily="2" charset="0"/>
                    </a:rPr>
                    <a:t>Details</a:t>
                  </a:r>
                </a:p>
              </p:txBody>
            </p:sp>
            <p:sp>
              <p:nvSpPr>
                <p:cNvPr id="91" name="TextBox 91"/>
                <p:cNvSpPr txBox="1"/>
                <p:nvPr/>
              </p:nvSpPr>
              <p:spPr>
                <a:xfrm>
                  <a:off x="4408180" y="2388205"/>
                  <a:ext cx="894984" cy="170111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399"/>
                    </a:lnSpc>
                    <a:spcBef>
                      <a:spcPct val="0"/>
                    </a:spcBef>
                  </a:pPr>
                  <a:r>
                    <a:rPr lang="en-US" sz="999" b="1" dirty="0">
                      <a:solidFill>
                        <a:srgbClr val="FFFFFF"/>
                      </a:solidFill>
                      <a:latin typeface="Red Hat Display" panose="02010303040201060303" pitchFamily="2" charset="0"/>
                    </a:rPr>
                    <a:t>Participants</a:t>
                  </a:r>
                </a:p>
              </p:txBody>
            </p:sp>
          </p:grpSp>
          <p:sp>
            <p:nvSpPr>
              <p:cNvPr id="92" name="TextBox 92"/>
              <p:cNvSpPr txBox="1"/>
              <p:nvPr/>
            </p:nvSpPr>
            <p:spPr>
              <a:xfrm>
                <a:off x="750214" y="3121669"/>
                <a:ext cx="1720132" cy="15690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259"/>
                  </a:lnSpc>
                  <a:spcBef>
                    <a:spcPct val="0"/>
                  </a:spcBef>
                </a:pPr>
                <a:r>
                  <a:rPr lang="en-US" sz="899" b="1" u="none" strike="noStrike" dirty="0">
                    <a:solidFill>
                      <a:srgbClr val="FFFFFF"/>
                    </a:solidFill>
                    <a:latin typeface="Red Hat Display" panose="02010303040201060303" pitchFamily="2" charset="0"/>
                  </a:rPr>
                  <a:t>Date: </a:t>
                </a:r>
                <a:r>
                  <a:rPr lang="vi-VN" sz="899" b="1" u="none" strike="noStrike" dirty="0">
                    <a:solidFill>
                      <a:srgbClr val="FFFFFF"/>
                    </a:solidFill>
                    <a:latin typeface="Red Hat Display" panose="02010303040201060303" pitchFamily="2" charset="0"/>
                  </a:rPr>
                  <a:t> </a:t>
                </a:r>
                <a:r>
                  <a:rPr lang="en-US" sz="899" u="none" strike="noStrike" dirty="0">
                    <a:solidFill>
                      <a:srgbClr val="FFFFFF"/>
                    </a:solidFill>
                    <a:latin typeface="Red Hat Display"/>
                  </a:rPr>
                  <a:t>November 20</a:t>
                </a:r>
              </a:p>
            </p:txBody>
          </p:sp>
          <p:sp>
            <p:nvSpPr>
              <p:cNvPr id="93" name="TextBox 93"/>
              <p:cNvSpPr txBox="1"/>
              <p:nvPr/>
            </p:nvSpPr>
            <p:spPr>
              <a:xfrm>
                <a:off x="4070390" y="3121669"/>
                <a:ext cx="1743459" cy="156902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l">
                  <a:lnSpc>
                    <a:spcPts val="1259"/>
                  </a:lnSpc>
                  <a:spcBef>
                    <a:spcPct val="0"/>
                  </a:spcBef>
                </a:pPr>
                <a:r>
                  <a:rPr lang="en-US" sz="899" b="1" u="none" strike="noStrike" dirty="0">
                    <a:solidFill>
                      <a:srgbClr val="FFFFFF"/>
                    </a:solidFill>
                    <a:latin typeface="Red Hat Display" panose="02010303040201060303" pitchFamily="2" charset="0"/>
                  </a:rPr>
                  <a:t>Notetaker: </a:t>
                </a:r>
                <a:r>
                  <a:rPr lang="vi-VN" sz="899" b="1" u="none" strike="noStrike" dirty="0">
                    <a:solidFill>
                      <a:srgbClr val="FFFFFF"/>
                    </a:solidFill>
                    <a:latin typeface="Red Hat Display" panose="02010303040201060303" pitchFamily="2" charset="0"/>
                  </a:rPr>
                  <a:t> </a:t>
                </a:r>
                <a:r>
                  <a:rPr lang="en-US" sz="899" u="none" strike="noStrike" dirty="0">
                    <a:solidFill>
                      <a:srgbClr val="FFFFFF"/>
                    </a:solidFill>
                    <a:latin typeface="Red Hat Display"/>
                  </a:rPr>
                  <a:t>Olivia Bennett</a:t>
                </a: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85BFFCA3-64FD-1A18-5DD4-1D5E226997B9}"/>
                </a:ext>
              </a:extLst>
            </p:cNvPr>
            <p:cNvGrpSpPr/>
            <p:nvPr/>
          </p:nvGrpSpPr>
          <p:grpSpPr>
            <a:xfrm>
              <a:off x="487345" y="690850"/>
              <a:ext cx="6581810" cy="1252534"/>
              <a:chOff x="487345" y="690850"/>
              <a:chExt cx="6581810" cy="1252534"/>
            </a:xfrm>
          </p:grpSpPr>
          <p:sp>
            <p:nvSpPr>
              <p:cNvPr id="5" name="AutoShape 5"/>
              <p:cNvSpPr/>
              <p:nvPr/>
            </p:nvSpPr>
            <p:spPr>
              <a:xfrm>
                <a:off x="487418" y="1225698"/>
                <a:ext cx="6581665" cy="0"/>
              </a:xfrm>
              <a:prstGeom prst="line">
                <a:avLst/>
              </a:prstGeom>
              <a:ln w="9525" cap="flat">
                <a:solidFill>
                  <a:srgbClr val="FFFFFF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" name="TextBox 16"/>
              <p:cNvSpPr txBox="1"/>
              <p:nvPr/>
            </p:nvSpPr>
            <p:spPr>
              <a:xfrm>
                <a:off x="487345" y="1343050"/>
                <a:ext cx="6581810" cy="60033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4701"/>
                  </a:lnSpc>
                </a:pPr>
                <a:r>
                  <a:rPr lang="en-US" sz="3900" b="1" dirty="0">
                    <a:solidFill>
                      <a:srgbClr val="FFFFFF"/>
                    </a:solidFill>
                    <a:latin typeface="Red Hat Display" panose="02010303040201060303" pitchFamily="2" charset="0"/>
                  </a:rPr>
                  <a:t>SALES MEETING AGENDA </a:t>
                </a:r>
              </a:p>
            </p:txBody>
          </p:sp>
          <p:sp>
            <p:nvSpPr>
              <p:cNvPr id="18" name="Freeform 18"/>
              <p:cNvSpPr/>
              <p:nvPr/>
            </p:nvSpPr>
            <p:spPr>
              <a:xfrm>
                <a:off x="636320" y="690850"/>
                <a:ext cx="577593" cy="369660"/>
              </a:xfrm>
              <a:custGeom>
                <a:avLst/>
                <a:gdLst/>
                <a:ahLst/>
                <a:cxnLst/>
                <a:rect l="l" t="t" r="r" b="b"/>
                <a:pathLst>
                  <a:path w="770124" h="492880">
                    <a:moveTo>
                      <a:pt x="0" y="0"/>
                    </a:moveTo>
                    <a:lnTo>
                      <a:pt x="770124" y="0"/>
                    </a:lnTo>
                    <a:lnTo>
                      <a:pt x="770124" y="492880"/>
                    </a:lnTo>
                    <a:lnTo>
                      <a:pt x="0" y="49288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9" name="TextBox 19"/>
              <p:cNvSpPr txBox="1"/>
              <p:nvPr/>
            </p:nvSpPr>
            <p:spPr>
              <a:xfrm>
                <a:off x="1440355" y="756618"/>
                <a:ext cx="3023996" cy="23812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919"/>
                  </a:lnSpc>
                </a:pPr>
                <a:r>
                  <a:rPr lang="en-US" sz="1599" dirty="0" err="1">
                    <a:solidFill>
                      <a:srgbClr val="FFFFFF"/>
                    </a:solidFill>
                    <a:latin typeface="Red Hat Display"/>
                  </a:rPr>
                  <a:t>ASpireCraft</a:t>
                </a:r>
                <a:r>
                  <a:rPr lang="en-US" sz="1599" dirty="0">
                    <a:solidFill>
                      <a:srgbClr val="FFFFFF"/>
                    </a:solidFill>
                    <a:latin typeface="Red Hat Display"/>
                  </a:rPr>
                  <a:t> Co.</a:t>
                </a:r>
              </a:p>
            </p:txBody>
          </p:sp>
          <p:sp>
            <p:nvSpPr>
              <p:cNvPr id="20" name="TextBox 20"/>
              <p:cNvSpPr txBox="1"/>
              <p:nvPr/>
            </p:nvSpPr>
            <p:spPr>
              <a:xfrm>
                <a:off x="3899684" y="756618"/>
                <a:ext cx="3023996" cy="23812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r">
                  <a:lnSpc>
                    <a:spcPts val="1919"/>
                  </a:lnSpc>
                </a:pPr>
                <a:r>
                  <a:rPr lang="en-US" sz="1599" dirty="0">
                    <a:solidFill>
                      <a:srgbClr val="FFFFFF"/>
                    </a:solidFill>
                    <a:latin typeface="Red Hat Display"/>
                  </a:rPr>
                  <a:t>2023</a:t>
                </a:r>
              </a:p>
            </p:txBody>
          </p:sp>
        </p:grpSp>
        <p:sp>
          <p:nvSpPr>
            <p:cNvPr id="94" name="TemplateLAB"/>
            <p:cNvSpPr/>
            <p:nvPr/>
          </p:nvSpPr>
          <p:spPr>
            <a:xfrm rot="5400000">
              <a:off x="6781149" y="9688257"/>
              <a:ext cx="853728" cy="140865"/>
            </a:xfrm>
            <a:custGeom>
              <a:avLst/>
              <a:gdLst/>
              <a:ahLst/>
              <a:cxnLst/>
              <a:rect l="l" t="t" r="r" b="b"/>
              <a:pathLst>
                <a:path w="853728" h="140865">
                  <a:moveTo>
                    <a:pt x="0" y="0"/>
                  </a:moveTo>
                  <a:lnTo>
                    <a:pt x="853728" y="0"/>
                  </a:lnTo>
                  <a:lnTo>
                    <a:pt x="853728" y="140865"/>
                  </a:lnTo>
                  <a:lnTo>
                    <a:pt x="0" y="140865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2</TotalTime>
  <Words>225</Words>
  <Application>Microsoft Office PowerPoint</Application>
  <PresentationFormat>Custom</PresentationFormat>
  <Paragraphs>42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Red Hat Display</vt:lpstr>
      <vt:lpstr>Calibri</vt:lpstr>
      <vt:lpstr>Arial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Meeting agenda templates</dc:title>
  <dc:creator>Hoang Anh</dc:creator>
  <cp:lastModifiedBy>Hoang Anh</cp:lastModifiedBy>
  <cp:revision>5</cp:revision>
  <dcterms:created xsi:type="dcterms:W3CDTF">2006-08-16T00:00:00Z</dcterms:created>
  <dcterms:modified xsi:type="dcterms:W3CDTF">2023-11-17T05:18:20Z</dcterms:modified>
  <dc:identifier>DAF0TzegUSY</dc:identifier>
</cp:coreProperties>
</file>